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1"/>
  </p:notesMasterIdLst>
  <p:sldIdLst>
    <p:sldId id="431" r:id="rId2"/>
    <p:sldId id="432" r:id="rId3"/>
    <p:sldId id="427" r:id="rId4"/>
    <p:sldId id="422" r:id="rId5"/>
    <p:sldId id="433" r:id="rId6"/>
    <p:sldId id="434" r:id="rId7"/>
    <p:sldId id="435" r:id="rId8"/>
    <p:sldId id="436" r:id="rId9"/>
    <p:sldId id="437" r:id="rId10"/>
  </p:sldIdLst>
  <p:sldSz cx="9906000" cy="6858000" type="A4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  <a:srgbClr val="EEF0F2"/>
    <a:srgbClr val="F1F2F3"/>
    <a:srgbClr val="F5F7FB"/>
    <a:srgbClr val="33CC33"/>
    <a:srgbClr val="CDE1EA"/>
    <a:srgbClr val="0051A2"/>
    <a:srgbClr val="00523E"/>
    <a:srgbClr val="F8D470"/>
    <a:srgbClr val="EFF0F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0441" autoAdjust="0"/>
    <p:restoredTop sz="80462" autoAdjust="0"/>
  </p:normalViewPr>
  <p:slideViewPr>
    <p:cSldViewPr snapToObjects="1">
      <p:cViewPr>
        <p:scale>
          <a:sx n="90" d="100"/>
          <a:sy n="90" d="100"/>
        </p:scale>
        <p:origin x="-1440" y="-126"/>
      </p:cViewPr>
      <p:guideLst>
        <p:guide orient="horz" pos="720"/>
        <p:guide orient="horz" pos="4128"/>
        <p:guide pos="144"/>
        <p:guide pos="1296"/>
        <p:guide pos="60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70A8C1-E40C-444C-A775-7C7CBBF11331}" type="datetimeFigureOut">
              <a:rPr lang="en-US" smtClean="0"/>
              <a:pPr/>
              <a:t>4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89ACC3-B2DA-4628-885A-D8DF3FDC35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65534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Master" Target="../slideMasters/slideMaster1.xml"/><Relationship Id="rId18" Type="http://schemas.openxmlformats.org/officeDocument/2006/relationships/image" Target="../media/image7.jpeg"/><Relationship Id="rId3" Type="http://schemas.openxmlformats.org/officeDocument/2006/relationships/tags" Target="../tags/tag7.xml"/><Relationship Id="rId21" Type="http://schemas.openxmlformats.org/officeDocument/2006/relationships/image" Target="../media/image10.jpe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6.png"/><Relationship Id="rId2" Type="http://schemas.openxmlformats.org/officeDocument/2006/relationships/tags" Target="../tags/tag6.xml"/><Relationship Id="rId16" Type="http://schemas.openxmlformats.org/officeDocument/2006/relationships/image" Target="../media/image5.png"/><Relationship Id="rId20" Type="http://schemas.openxmlformats.org/officeDocument/2006/relationships/image" Target="../media/image9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image" Target="../media/image4.png"/><Relationship Id="rId10" Type="http://schemas.openxmlformats.org/officeDocument/2006/relationships/tags" Target="../tags/tag14.xml"/><Relationship Id="rId19" Type="http://schemas.openxmlformats.org/officeDocument/2006/relationships/image" Target="../media/image8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oleObject" Target="../embeddings/oleObject2.bin"/><Relationship Id="rId22" Type="http://schemas.openxmlformats.org/officeDocument/2006/relationships/image" Target="../media/image1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0.xml"/><Relationship Id="rId7" Type="http://schemas.openxmlformats.org/officeDocument/2006/relationships/oleObject" Target="../embeddings/oleObject3.bin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image" Target="../media/image1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2732311568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p:oleObj spid="_x0000_s30432" name="think-cell Slide" r:id="rId14" imgW="360" imgH="360" progId="">
              <p:embed/>
            </p:oleObj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203190" y="2057404"/>
            <a:ext cx="6612944" cy="1473919"/>
          </a:xfrm>
        </p:spPr>
        <p:txBody>
          <a:bodyPr anchor="t"/>
          <a:lstStyle>
            <a:lvl1pPr algn="l">
              <a:defRPr sz="2000" b="1" cap="none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13" name="Текст 2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2203190" y="4684203"/>
            <a:ext cx="2027448" cy="307777"/>
          </a:xfrm>
        </p:spPr>
        <p:txBody>
          <a:bodyPr lIns="45720" tIns="45720" rIns="45720" bIns="45720" anchor="t" anchorCtr="0">
            <a:spAutoFit/>
          </a:bodyPr>
          <a:lstStyle>
            <a:lvl1pPr marL="0" indent="0" algn="l">
              <a:buNone/>
              <a:defRPr lang="ru-RU" sz="1400" b="0" i="1" kern="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+mn-cs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 algn="r" defTabSz="684213" rtl="0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lang="ru-RU" dirty="0" smtClean="0"/>
              <a:t>дата</a:t>
            </a:r>
          </a:p>
        </p:txBody>
      </p:sp>
      <p:sp>
        <p:nvSpPr>
          <p:cNvPr id="14" name="Rectangle 106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-4758" y="3175"/>
            <a:ext cx="2062163" cy="685482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none" lIns="93296" tIns="46648" rIns="93296" bIns="46648" anchor="ctr"/>
          <a:lstStyle/>
          <a:p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24" name="McK Date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72263" y="5725685"/>
            <a:ext cx="1935642" cy="897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800">
                <a:solidFill>
                  <a:srgbClr val="EE1700"/>
                </a:solidFill>
                <a:latin typeface="Arial Narrow" pitchFamily="34" charset="0"/>
              </a:defRPr>
            </a:lvl1pPr>
            <a:lvl2pPr marL="742950" indent="-285750" eaLnBrk="0" hangingPunct="0">
              <a:defRPr sz="800">
                <a:solidFill>
                  <a:srgbClr val="EE1700"/>
                </a:solidFill>
                <a:latin typeface="Arial Narrow" pitchFamily="34" charset="0"/>
              </a:defRPr>
            </a:lvl2pPr>
            <a:lvl3pPr marL="1143000" indent="-228600" eaLnBrk="0" hangingPunct="0">
              <a:defRPr sz="800">
                <a:solidFill>
                  <a:srgbClr val="EE1700"/>
                </a:solidFill>
                <a:latin typeface="Arial Narrow" pitchFamily="34" charset="0"/>
              </a:defRPr>
            </a:lvl3pPr>
            <a:lvl4pPr marL="1600200" indent="-228600" eaLnBrk="0" hangingPunct="0">
              <a:defRPr sz="800">
                <a:solidFill>
                  <a:srgbClr val="EE1700"/>
                </a:solidFill>
                <a:latin typeface="Arial Narrow" pitchFamily="34" charset="0"/>
              </a:defRPr>
            </a:lvl4pPr>
            <a:lvl5pPr marL="2057400" indent="-228600" eaLnBrk="0" hangingPunct="0">
              <a:defRPr sz="800">
                <a:solidFill>
                  <a:srgbClr val="EE1700"/>
                </a:solidFill>
                <a:latin typeface="Arial Narrow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EE1700"/>
                </a:solidFill>
                <a:latin typeface="Arial Narrow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EE1700"/>
                </a:solidFill>
                <a:latin typeface="Arial Narrow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EE1700"/>
                </a:solidFill>
                <a:latin typeface="Arial Narrow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EE1700"/>
                </a:solidFill>
                <a:latin typeface="Arial Narrow" pitchFamily="34" charset="0"/>
              </a:defRPr>
            </a:lvl9pPr>
          </a:lstStyle>
          <a:p>
            <a:pPr marL="171450" indent="-171450" eaLnBrk="1" hangingPunct="1">
              <a:spcBef>
                <a:spcPts val="100"/>
              </a:spcBef>
              <a:buBlip>
                <a:blip r:embed="rId15"/>
              </a:buBlip>
              <a:defRPr/>
            </a:pPr>
            <a:r>
              <a:rPr lang="ru-RU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Екатеринбург </a:t>
            </a:r>
            <a:endParaRPr lang="en-US" sz="1100" b="1" kern="0" dirty="0" smtClean="0">
              <a:solidFill>
                <a:schemeClr val="accent4"/>
              </a:solidFill>
              <a:latin typeface="+mn-lt"/>
              <a:ea typeface="ＭＳ Ｐゴシック" pitchFamily="-109" charset="-128"/>
              <a:cs typeface="Arial"/>
              <a:sym typeface="Wingdings"/>
            </a:endParaRPr>
          </a:p>
          <a:p>
            <a:pPr marL="171450" indent="-171450" eaLnBrk="1" hangingPunct="1">
              <a:spcBef>
                <a:spcPts val="100"/>
              </a:spcBef>
              <a:buBlip>
                <a:blip r:embed="rId15"/>
              </a:buBlip>
              <a:defRPr/>
            </a:pPr>
            <a:r>
              <a:rPr lang="ru-RU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Нижний Новгород</a:t>
            </a:r>
            <a:r>
              <a:rPr lang="en-US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 </a:t>
            </a:r>
          </a:p>
          <a:p>
            <a:pPr marL="171450" indent="-171450" eaLnBrk="1" hangingPunct="1">
              <a:spcBef>
                <a:spcPts val="100"/>
              </a:spcBef>
              <a:buBlip>
                <a:blip r:embed="rId15"/>
              </a:buBlip>
              <a:defRPr/>
            </a:pPr>
            <a:r>
              <a:rPr lang="ru-RU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Ростов-на-Дону</a:t>
            </a:r>
            <a:r>
              <a:rPr lang="en-US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 </a:t>
            </a:r>
          </a:p>
          <a:p>
            <a:pPr marL="171450" indent="-171450" eaLnBrk="1" hangingPunct="1">
              <a:spcBef>
                <a:spcPts val="100"/>
              </a:spcBef>
              <a:buBlip>
                <a:blip r:embed="rId15"/>
              </a:buBlip>
              <a:defRPr/>
            </a:pPr>
            <a:r>
              <a:rPr lang="ru-RU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Самара</a:t>
            </a:r>
          </a:p>
          <a:p>
            <a:pPr marL="171450" indent="-171450" eaLnBrk="1" hangingPunct="1">
              <a:spcBef>
                <a:spcPts val="100"/>
              </a:spcBef>
              <a:buBlip>
                <a:blip r:embed="rId15"/>
              </a:buBlip>
              <a:defRPr/>
            </a:pPr>
            <a:r>
              <a:rPr lang="ru-RU" sz="1100" b="1" kern="0" dirty="0" smtClean="0">
                <a:solidFill>
                  <a:schemeClr val="accent4"/>
                </a:solidFill>
                <a:latin typeface="+mn-lt"/>
                <a:ea typeface="ＭＳ Ｐゴシック" pitchFamily="-109" charset="-128"/>
                <a:cs typeface="Arial"/>
                <a:sym typeface="Wingdings"/>
              </a:rPr>
              <a:t>Саратов</a:t>
            </a:r>
            <a:endParaRPr lang="en-US" sz="1100" b="1" kern="0" dirty="0" smtClean="0">
              <a:solidFill>
                <a:schemeClr val="accent4"/>
              </a:solidFill>
              <a:latin typeface="+mn-lt"/>
              <a:ea typeface="ＭＳ Ｐゴシック" pitchFamily="-109" charset="-128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2263" y="334075"/>
            <a:ext cx="771546" cy="771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39" descr="C:\Users\TsypkinaOS\Documents\Template\Airports logos\Logos\RG_Logo_coatedRUS_vertik-01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569" t="8346" r="8229" b="8167"/>
          <a:stretch/>
        </p:blipFill>
        <p:spPr bwMode="auto">
          <a:xfrm>
            <a:off x="1097763" y="334075"/>
            <a:ext cx="771525" cy="771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2205966" y="5679359"/>
            <a:ext cx="7584730" cy="995121"/>
            <a:chOff x="2205962" y="5679347"/>
            <a:chExt cx="7584730" cy="995121"/>
          </a:xfrm>
        </p:grpSpPr>
        <p:pic>
          <p:nvPicPr>
            <p:cNvPr id="25" name="Picture 2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 bwMode="auto">
            <a:xfrm>
              <a:off x="6514351" y="5684109"/>
              <a:ext cx="1029449" cy="990359"/>
            </a:xfrm>
            <a:prstGeom prst="rect">
              <a:avLst/>
            </a:prstGeom>
            <a:noFill/>
            <a:effectLst>
              <a:outerShdw blurRad="40005" dist="20320" dir="5400000" algn="tl" rotWithShape="0">
                <a:prstClr val="black">
                  <a:alpha val="38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2653" r="12653"/>
            <a:stretch/>
          </p:blipFill>
          <p:spPr bwMode="auto">
            <a:xfrm>
              <a:off x="3279197" y="5684109"/>
              <a:ext cx="1029862" cy="990359"/>
            </a:xfrm>
            <a:prstGeom prst="rect">
              <a:avLst/>
            </a:prstGeom>
            <a:ln>
              <a:noFill/>
              <a:headEnd/>
              <a:tailEnd/>
            </a:ln>
            <a:ex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7" name="Picture 64"/>
            <p:cNvPicPr>
              <a:picLocks noChangeAspect="1" noChangeArrowheads="1"/>
            </p:cNvPicPr>
            <p:nvPr userDrawn="1">
              <p:custDataLst>
                <p:tags r:id="rId9"/>
              </p:custDataLst>
            </p:nvPr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9383" r="14458"/>
            <a:stretch/>
          </p:blipFill>
          <p:spPr bwMode="auto">
            <a:xfrm>
              <a:off x="4357517" y="5684109"/>
              <a:ext cx="1029862" cy="990359"/>
            </a:xfrm>
            <a:prstGeom prst="rect">
              <a:avLst/>
            </a:prstGeom>
            <a:noFill/>
            <a:effectLst>
              <a:outerShdw blurRad="40005" dist="20320" dir="5400000" algn="tl" rotWithShape="0">
                <a:prstClr val="black">
                  <a:alpha val="38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>
              <p:custDataLst>
                <p:tags r:id="rId10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348" r="21939"/>
            <a:stretch/>
          </p:blipFill>
          <p:spPr bwMode="auto">
            <a:xfrm>
              <a:off x="5433525" y="5684109"/>
              <a:ext cx="1029862" cy="990359"/>
            </a:xfrm>
            <a:prstGeom prst="rect">
              <a:avLst/>
            </a:prstGeom>
            <a:ln>
              <a:noFill/>
              <a:headEnd/>
              <a:tailEnd/>
            </a:ln>
            <a:ex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9" name="Picture 4"/>
            <p:cNvPicPr>
              <a:picLocks noChangeAspect="1" noChangeArrowheads="1"/>
            </p:cNvPicPr>
            <p:nvPr userDrawn="1">
              <p:custDataLst>
                <p:tags r:id="rId11"/>
              </p:custDataLst>
            </p:nvPr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283" r="22206"/>
            <a:stretch/>
          </p:blipFill>
          <p:spPr bwMode="auto">
            <a:xfrm>
              <a:off x="2205962" y="5684109"/>
              <a:ext cx="1027091" cy="990359"/>
            </a:xfrm>
            <a:prstGeom prst="rect">
              <a:avLst/>
            </a:prstGeom>
            <a:ln>
              <a:noFill/>
              <a:headEnd/>
              <a:tailEnd/>
            </a:ln>
            <a:ex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sp>
          <p:nvSpPr>
            <p:cNvPr id="30" name="Нашивка 52"/>
            <p:cNvSpPr/>
            <p:nvPr userDrawn="1">
              <p:custDataLst>
                <p:tags r:id="rId12"/>
              </p:custDataLst>
            </p:nvPr>
          </p:nvSpPr>
          <p:spPr bwMode="auto">
            <a:xfrm>
              <a:off x="7597139" y="5679347"/>
              <a:ext cx="2193553" cy="990358"/>
            </a:xfrm>
            <a:custGeom>
              <a:avLst/>
              <a:gdLst/>
              <a:ahLst/>
              <a:cxnLst/>
              <a:rect l="l" t="t" r="r" b="b"/>
              <a:pathLst>
                <a:path w="2487612" h="761641">
                  <a:moveTo>
                    <a:pt x="1519237" y="0"/>
                  </a:moveTo>
                  <a:lnTo>
                    <a:pt x="2349991" y="0"/>
                  </a:lnTo>
                  <a:lnTo>
                    <a:pt x="2487612" y="380821"/>
                  </a:lnTo>
                  <a:lnTo>
                    <a:pt x="2349991" y="761641"/>
                  </a:lnTo>
                  <a:lnTo>
                    <a:pt x="1519237" y="761641"/>
                  </a:lnTo>
                  <a:lnTo>
                    <a:pt x="1656858" y="380821"/>
                  </a:lnTo>
                  <a:close/>
                  <a:moveTo>
                    <a:pt x="921331" y="0"/>
                  </a:moveTo>
                  <a:lnTo>
                    <a:pt x="1482809" y="0"/>
                  </a:lnTo>
                  <a:lnTo>
                    <a:pt x="1620835" y="380821"/>
                  </a:lnTo>
                  <a:lnTo>
                    <a:pt x="1482809" y="761641"/>
                  </a:lnTo>
                  <a:lnTo>
                    <a:pt x="921331" y="761641"/>
                  </a:lnTo>
                  <a:lnTo>
                    <a:pt x="1059357" y="380821"/>
                  </a:lnTo>
                  <a:close/>
                  <a:moveTo>
                    <a:pt x="507876" y="0"/>
                  </a:moveTo>
                  <a:lnTo>
                    <a:pt x="884477" y="0"/>
                  </a:lnTo>
                  <a:lnTo>
                    <a:pt x="1022928" y="380821"/>
                  </a:lnTo>
                  <a:lnTo>
                    <a:pt x="884477" y="761641"/>
                  </a:lnTo>
                  <a:lnTo>
                    <a:pt x="507876" y="761641"/>
                  </a:lnTo>
                  <a:lnTo>
                    <a:pt x="646327" y="380821"/>
                  </a:lnTo>
                  <a:close/>
                  <a:moveTo>
                    <a:pt x="206610" y="0"/>
                  </a:moveTo>
                  <a:lnTo>
                    <a:pt x="472757" y="0"/>
                  </a:lnTo>
                  <a:lnTo>
                    <a:pt x="609473" y="380821"/>
                  </a:lnTo>
                  <a:lnTo>
                    <a:pt x="472757" y="761641"/>
                  </a:lnTo>
                  <a:lnTo>
                    <a:pt x="206610" y="761641"/>
                  </a:lnTo>
                  <a:lnTo>
                    <a:pt x="343326" y="380821"/>
                  </a:lnTo>
                  <a:close/>
                  <a:moveTo>
                    <a:pt x="0" y="0"/>
                  </a:moveTo>
                  <a:lnTo>
                    <a:pt x="171462" y="0"/>
                  </a:lnTo>
                  <a:lnTo>
                    <a:pt x="308207" y="380821"/>
                  </a:lnTo>
                  <a:lnTo>
                    <a:pt x="171462" y="761641"/>
                  </a:lnTo>
                  <a:lnTo>
                    <a:pt x="0" y="761641"/>
                  </a:lnTo>
                  <a:lnTo>
                    <a:pt x="136745" y="380821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3C4EE"/>
                </a:gs>
                <a:gs pos="82000">
                  <a:srgbClr val="0051A2"/>
                </a:gs>
              </a:gsLst>
              <a:lin ang="10800000" scaled="1"/>
              <a:tileRect/>
            </a:gradFill>
            <a:ln w="9525">
              <a:noFill/>
              <a:miter lim="800000"/>
              <a:headEnd/>
              <a:tailEnd/>
            </a:ln>
            <a:effectLst>
              <a:outerShdw blurRad="40005" dist="20320" dir="5400000" algn="t" rotWithShape="0">
                <a:prstClr val="black">
                  <a:alpha val="3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799496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2057401" y="1143000"/>
            <a:ext cx="7620000" cy="518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781531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038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Кольцово, только 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198" y="551375"/>
            <a:ext cx="1723008" cy="267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81" y="6614356"/>
            <a:ext cx="391542" cy="246221"/>
          </a:xfrm>
          <a:prstGeom prst="rect">
            <a:avLst/>
          </a:prstGeom>
          <a:solidFill>
            <a:srgbClr val="D8DBDE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20B6CD2-2384-4AEE-AEDA-9288F2A0F993}" type="slidenum">
              <a:rPr lang="en-US" sz="1000" b="1">
                <a:solidFill>
                  <a:srgbClr val="0051A2"/>
                </a:solidFill>
                <a:ea typeface="ＭＳ Ｐゴシック" pitchFamily="-109" charset="-128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51A2"/>
              </a:solidFill>
              <a:ea typeface="ＭＳ Ｐゴシック" pitchFamily="-109" charset="-128"/>
              <a:cs typeface="Arial" charset="0"/>
            </a:endParaRPr>
          </a:p>
        </p:txBody>
      </p:sp>
      <p:sp>
        <p:nvSpPr>
          <p:cNvPr id="8" name="Прямоугольник 7"/>
          <p:cNvSpPr/>
          <p:nvPr userDrawn="1">
            <p:custDataLst>
              <p:tags r:id="rId2"/>
            </p:custDataLst>
          </p:nvPr>
        </p:nvSpPr>
        <p:spPr bwMode="auto">
          <a:xfrm>
            <a:off x="0" y="852055"/>
            <a:ext cx="9906000" cy="45719"/>
          </a:xfrm>
          <a:prstGeom prst="rect">
            <a:avLst/>
          </a:prstGeom>
          <a:gradFill flip="none" rotWithShape="1">
            <a:gsLst>
              <a:gs pos="0">
                <a:srgbClr val="0051A2"/>
              </a:gs>
              <a:gs pos="100000">
                <a:srgbClr val="858F97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5158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Курумоч, только 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83286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555" name="think-cell Slide" r:id="rId7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9939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196" y="551363"/>
            <a:ext cx="1494409" cy="266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181" y="6614356"/>
            <a:ext cx="391542" cy="246221"/>
          </a:xfrm>
          <a:prstGeom prst="rect">
            <a:avLst/>
          </a:prstGeom>
          <a:solidFill>
            <a:srgbClr val="D8DBDE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20B6CD2-2384-4AEE-AEDA-9288F2A0F993}" type="slidenum">
              <a:rPr lang="en-US" sz="1000" b="1">
                <a:solidFill>
                  <a:srgbClr val="0051A2"/>
                </a:solidFill>
                <a:ea typeface="ＭＳ Ｐゴシック" pitchFamily="-109" charset="-128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51A2"/>
              </a:solidFill>
              <a:ea typeface="ＭＳ Ｐゴシック" pitchFamily="-109" charset="-128"/>
              <a:cs typeface="Arial" charset="0"/>
            </a:endParaRPr>
          </a:p>
        </p:txBody>
      </p:sp>
      <p:sp>
        <p:nvSpPr>
          <p:cNvPr id="8" name="Прямоугольник 7"/>
          <p:cNvSpPr/>
          <p:nvPr userDrawn="1">
            <p:custDataLst>
              <p:tags r:id="rId5"/>
            </p:custDataLst>
          </p:nvPr>
        </p:nvSpPr>
        <p:spPr bwMode="auto">
          <a:xfrm>
            <a:off x="0" y="852055"/>
            <a:ext cx="9906000" cy="45719"/>
          </a:xfrm>
          <a:prstGeom prst="rect">
            <a:avLst/>
          </a:prstGeom>
          <a:gradFill flip="none" rotWithShape="1">
            <a:gsLst>
              <a:gs pos="0">
                <a:srgbClr val="0051A2"/>
              </a:gs>
              <a:gs pos="100000">
                <a:srgbClr val="858F97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3679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Стригино, только 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192" y="551363"/>
            <a:ext cx="1646808" cy="265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7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81" y="6614356"/>
            <a:ext cx="391542" cy="246221"/>
          </a:xfrm>
          <a:prstGeom prst="rect">
            <a:avLst/>
          </a:prstGeom>
          <a:solidFill>
            <a:srgbClr val="D8DBDE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20B6CD2-2384-4AEE-AEDA-9288F2A0F993}" type="slidenum">
              <a:rPr lang="en-US" sz="1000" b="1">
                <a:solidFill>
                  <a:srgbClr val="0051A2"/>
                </a:solidFill>
                <a:ea typeface="ＭＳ Ｐゴシック" pitchFamily="-109" charset="-128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51A2"/>
              </a:solidFill>
              <a:ea typeface="ＭＳ Ｐゴシック" pitchFamily="-109" charset="-128"/>
              <a:cs typeface="Arial" charset="0"/>
            </a:endParaRPr>
          </a:p>
        </p:txBody>
      </p:sp>
      <p:sp>
        <p:nvSpPr>
          <p:cNvPr id="7" name="Прямоугольник 6"/>
          <p:cNvSpPr/>
          <p:nvPr userDrawn="1">
            <p:custDataLst>
              <p:tags r:id="rId2"/>
            </p:custDataLst>
          </p:nvPr>
        </p:nvSpPr>
        <p:spPr bwMode="auto">
          <a:xfrm>
            <a:off x="0" y="852055"/>
            <a:ext cx="9906000" cy="45719"/>
          </a:xfrm>
          <a:prstGeom prst="rect">
            <a:avLst/>
          </a:prstGeom>
          <a:gradFill flip="none" rotWithShape="1">
            <a:gsLst>
              <a:gs pos="0">
                <a:srgbClr val="0051A2"/>
              </a:gs>
              <a:gs pos="100000">
                <a:srgbClr val="858F97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2084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Южный, только 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6" name="Rectangle 7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181" y="6614356"/>
            <a:ext cx="391542" cy="246221"/>
          </a:xfrm>
          <a:prstGeom prst="rect">
            <a:avLst/>
          </a:prstGeom>
          <a:solidFill>
            <a:srgbClr val="D8DBDE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20B6CD2-2384-4AEE-AEDA-9288F2A0F993}" type="slidenum">
              <a:rPr lang="en-US" sz="1000" b="1">
                <a:solidFill>
                  <a:srgbClr val="0051A2"/>
                </a:solidFill>
                <a:ea typeface="ＭＳ Ｐゴシック" pitchFamily="-109" charset="-128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51A2"/>
              </a:solidFill>
              <a:ea typeface="ＭＳ Ｐゴシック" pitchFamily="-109" charset="-128"/>
              <a:cs typeface="Arial" charset="0"/>
            </a:endParaRPr>
          </a:p>
        </p:txBody>
      </p:sp>
      <p:sp>
        <p:nvSpPr>
          <p:cNvPr id="7" name="Прямоугольник 6"/>
          <p:cNvSpPr/>
          <p:nvPr userDrawn="1">
            <p:custDataLst>
              <p:tags r:id="rId2"/>
            </p:custDataLst>
          </p:nvPr>
        </p:nvSpPr>
        <p:spPr bwMode="auto">
          <a:xfrm>
            <a:off x="0" y="852055"/>
            <a:ext cx="9906000" cy="45719"/>
          </a:xfrm>
          <a:prstGeom prst="rect">
            <a:avLst/>
          </a:prstGeom>
          <a:gradFill flip="none" rotWithShape="1">
            <a:gsLst>
              <a:gs pos="0">
                <a:srgbClr val="0051A2"/>
              </a:gs>
              <a:gs pos="100000">
                <a:srgbClr val="858F97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969" y="511458"/>
            <a:ext cx="1351756" cy="307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30860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95005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ABBF009D-7380-4CA7-AC14-07480703E868}" type="datetimeFigureOut">
              <a:rPr lang="ru-RU" smtClean="0"/>
              <a:pPr/>
              <a:t>30.04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571F2B6-2DE8-4143-B0CA-637671736D89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4232122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p:oleObj spid="_x0000_s36567" name="think-cell Slide" r:id="rId16" imgW="360" imgH="360" progId="">
              <p:embed/>
            </p:oleObj>
          </a:graphicData>
        </a:graphic>
      </p:graphicFrame>
      <p:sp>
        <p:nvSpPr>
          <p:cNvPr id="6146" name="Rectangle 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2057401" y="44453"/>
            <a:ext cx="7620000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0" rIns="4572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 1</a:t>
            </a:r>
            <a:br>
              <a:rPr lang="en-US" dirty="0" smtClean="0"/>
            </a:br>
            <a:r>
              <a:rPr lang="en-US" dirty="0" smtClean="0"/>
              <a:t>Title 2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2057401" y="1143000"/>
            <a:ext cx="76200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A-point</a:t>
            </a:r>
          </a:p>
          <a:p>
            <a:pPr lvl="1"/>
            <a:r>
              <a:rPr lang="en-US" dirty="0" smtClean="0"/>
              <a:t>B-point</a:t>
            </a:r>
          </a:p>
          <a:p>
            <a:pPr lvl="2"/>
            <a:r>
              <a:rPr lang="en-US" dirty="0" smtClean="0"/>
              <a:t>C-point</a:t>
            </a:r>
          </a:p>
          <a:p>
            <a:pPr lvl="3"/>
            <a:r>
              <a:rPr lang="en-US" dirty="0" smtClean="0"/>
              <a:t>D-point</a:t>
            </a:r>
          </a:p>
        </p:txBody>
      </p:sp>
      <p:sp>
        <p:nvSpPr>
          <p:cNvPr id="1490951" name="Rectangle 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81" y="6614356"/>
            <a:ext cx="391542" cy="246221"/>
          </a:xfrm>
          <a:prstGeom prst="rect">
            <a:avLst/>
          </a:prstGeom>
          <a:solidFill>
            <a:srgbClr val="D8DBDE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20B6CD2-2384-4AEE-AEDA-9288F2A0F993}" type="slidenum">
              <a:rPr lang="en-US" sz="1000" b="1">
                <a:solidFill>
                  <a:srgbClr val="0051A2"/>
                </a:solidFill>
                <a:ea typeface="ＭＳ Ｐゴシック" pitchFamily="-109" charset="-128"/>
                <a:cs typeface="Arial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51A2"/>
              </a:solidFill>
              <a:ea typeface="ＭＳ Ｐゴシック" pitchFamily="-109" charset="-128"/>
              <a:cs typeface="Arial" charset="0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5"/>
            </p:custDataLst>
          </p:nvPr>
        </p:nvSpPr>
        <p:spPr bwMode="auto">
          <a:xfrm>
            <a:off x="0" y="852055"/>
            <a:ext cx="9906000" cy="45719"/>
          </a:xfrm>
          <a:prstGeom prst="rect">
            <a:avLst/>
          </a:prstGeom>
          <a:gradFill flip="none" rotWithShape="1">
            <a:gsLst>
              <a:gs pos="0">
                <a:srgbClr val="0051A2"/>
              </a:gs>
              <a:gs pos="100000">
                <a:srgbClr val="858F97">
                  <a:shade val="100000"/>
                  <a:satMod val="115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8192" y="102345"/>
            <a:ext cx="675258" cy="67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15991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1" r:id="rId2"/>
    <p:sldLayoutId id="2147483672" r:id="rId3"/>
    <p:sldLayoutId id="2147483678" r:id="rId4"/>
    <p:sldLayoutId id="2147483679" r:id="rId5"/>
    <p:sldLayoutId id="2147483680" r:id="rId6"/>
    <p:sldLayoutId id="2147483681" r:id="rId7"/>
    <p:sldLayoutId id="2147483673" r:id="rId8"/>
    <p:sldLayoutId id="2147483682" r:id="rId9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algn="l" defTabSz="684213" rtl="0" eaLnBrk="1" fontAlgn="base" hangingPunct="1">
        <a:spcBef>
          <a:spcPct val="20000"/>
        </a:spcBef>
        <a:spcAft>
          <a:spcPct val="0"/>
        </a:spcAft>
        <a:buSzPct val="25000"/>
        <a:buFont typeface="Wingdings" pitchFamily="2" charset="2"/>
        <a:buChar char=" 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42900" indent="-284163" algn="l" defTabSz="684213" rtl="0" eaLnBrk="1" fontAlgn="base" hangingPunct="1">
        <a:spcBef>
          <a:spcPct val="20000"/>
        </a:spcBef>
        <a:spcAft>
          <a:spcPct val="0"/>
        </a:spcAft>
        <a:buClr>
          <a:srgbClr val="0051A2"/>
        </a:buClr>
        <a:buSzPct val="100000"/>
        <a:buFontTx/>
        <a:buBlip>
          <a:blip r:embed="rId18"/>
        </a:buBlip>
        <a:defRPr>
          <a:solidFill>
            <a:schemeClr val="tx1"/>
          </a:solidFill>
          <a:latin typeface="+mn-lt"/>
        </a:defRPr>
      </a:lvl2pPr>
      <a:lvl3pPr marL="685800" indent="-228600" algn="l" defTabSz="684213" rtl="0" eaLnBrk="1" fontAlgn="base" hangingPunct="1">
        <a:spcBef>
          <a:spcPct val="20000"/>
        </a:spcBef>
        <a:spcAft>
          <a:spcPct val="0"/>
        </a:spcAft>
        <a:buClr>
          <a:srgbClr val="0051A2"/>
        </a:buClr>
        <a:buSzPct val="100000"/>
        <a:buChar char="–"/>
        <a:defRPr sz="1600">
          <a:solidFill>
            <a:schemeClr val="tx1"/>
          </a:solidFill>
          <a:latin typeface="+mn-lt"/>
        </a:defRPr>
      </a:lvl3pPr>
      <a:lvl4pPr marL="1028700" indent="-228600" algn="l" defTabSz="684213" rtl="0" eaLnBrk="1" fontAlgn="base" hangingPunct="1">
        <a:spcBef>
          <a:spcPct val="20000"/>
        </a:spcBef>
        <a:spcAft>
          <a:spcPct val="0"/>
        </a:spcAft>
        <a:buClr>
          <a:srgbClr val="0051A2"/>
        </a:buClr>
        <a:buSzPct val="55000"/>
        <a:buFont typeface="Wingdings" pitchFamily="2" charset="2"/>
        <a:buChar char="¡"/>
        <a:defRPr sz="1400">
          <a:solidFill>
            <a:schemeClr val="tx1"/>
          </a:solidFill>
          <a:latin typeface="+mn-lt"/>
        </a:defRPr>
      </a:lvl4pPr>
      <a:lvl5pPr marL="13716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5pPr>
      <a:lvl6pPr marL="18288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6pPr>
      <a:lvl7pPr marL="22860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7pPr>
      <a:lvl8pPr marL="27432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8pPr>
      <a:lvl9pPr marL="3200400" indent="-228600" algn="l" defTabSz="6842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www.koltsovo.ru/ru/vip_terminal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://www.koltsovo.ru/ru/zalyi_povyishennoy_komfortnosti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://www.koltsovo.ru/ru/eda_na_bort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tags" Target="../tags/tag28.xml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tags" Target="../tags/tag27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4.vml"/><Relationship Id="rId6" Type="http://schemas.openxmlformats.org/officeDocument/2006/relationships/hyperlink" Target="http://www.svx.aero/izgaztuve/sxema.jpg" TargetMode="External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36.png"/><Relationship Id="rId10" Type="http://schemas.openxmlformats.org/officeDocument/2006/relationships/image" Target="../media/image31.jpeg"/><Relationship Id="rId19" Type="http://schemas.openxmlformats.org/officeDocument/2006/relationships/image" Target="../media/image4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0.png"/><Relationship Id="rId14" Type="http://schemas.openxmlformats.org/officeDocument/2006/relationships/image" Target="../media/image3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2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1.png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32.xml"/><Relationship Id="rId7" Type="http://schemas.openxmlformats.org/officeDocument/2006/relationships/image" Target="../media/image4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svx.aero/ru/upakovka_bagazha_i_kamera_hraneniya" TargetMode="External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tags" Target="../tags/tag34.xml"/><Relationship Id="rId7" Type="http://schemas.openxmlformats.org/officeDocument/2006/relationships/image" Target="../media/image45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hyperlink" Target="http://www.svx.aero/ru/ekskursii_po_aeroportu" TargetMode="External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6.xml"/><Relationship Id="rId7" Type="http://schemas.openxmlformats.org/officeDocument/2006/relationships/image" Target="../media/image4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hyperlink" Target="http://www.koltsovo.ru/?magazinyi_duty_free_kafe_bankomatyi" TargetMode="External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6" Type="http://schemas.openxmlformats.org/officeDocument/2006/relationships/hyperlink" Target="http://www.koltsovo.ru/?parkingi" TargetMode="External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72480" y="1916832"/>
            <a:ext cx="5226581" cy="472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500" b="1" dirty="0" smtClean="0">
                <a:solidFill>
                  <a:srgbClr val="FFCC66"/>
                </a:solidFill>
                <a:latin typeface="Cambria" pitchFamily="18" charset="0"/>
              </a:rPr>
              <a:t>VIP </a:t>
            </a:r>
            <a:r>
              <a:rPr lang="ru-RU" sz="1500" b="1" dirty="0" smtClean="0">
                <a:solidFill>
                  <a:srgbClr val="FFCC66"/>
                </a:solidFill>
                <a:latin typeface="Cambria" pitchFamily="18" charset="0"/>
              </a:rPr>
              <a:t>ТЕРМИНАЛ КОЛЬЦОВО</a:t>
            </a:r>
            <a:endParaRPr lang="en-US" sz="1500" b="1" dirty="0" smtClean="0">
              <a:solidFill>
                <a:srgbClr val="FFCC66"/>
              </a:solidFill>
              <a:latin typeface="Cambria" pitchFamily="18" charset="0"/>
            </a:endParaRPr>
          </a:p>
          <a:p>
            <a:pPr>
              <a:buNone/>
            </a:pPr>
            <a:r>
              <a:rPr lang="en-US" sz="1100" b="1" dirty="0" smtClean="0">
                <a:solidFill>
                  <a:srgbClr val="252571"/>
                </a:solidFill>
                <a:latin typeface="Cambria" pitchFamily="18" charset="0"/>
              </a:rPr>
              <a:t>VIP </a:t>
            </a: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терминал международного аэропорта Кольцово представляет собой особую зону комфорта и является одним из лучших не только в России, но и за рубежом. Интерьер </a:t>
            </a:r>
            <a:r>
              <a:rPr lang="en-US" sz="1100" b="1" dirty="0" smtClean="0">
                <a:solidFill>
                  <a:srgbClr val="252571"/>
                </a:solidFill>
                <a:latin typeface="Cambria" pitchFamily="18" charset="0"/>
              </a:rPr>
              <a:t>VIP </a:t>
            </a: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терминала чарует своей роскошью и удобством, а процесс прохождения регистрации и таможенного контроля для наших дорогих гостей мы сделали легким и приятным. Здесь всегда окажут теплый прием и обеспечат внимательное обслуживание, чтобы гости могли расслабиться и наслаждаться спокойной и уютной атмосферой. Необходимые формальности перед полетом – пройти регистрацию и оформить багаж – поможет уладить персональный менеджер.</a:t>
            </a:r>
          </a:p>
          <a:p>
            <a:pPr>
              <a:buNone/>
            </a:pPr>
            <a:r>
              <a:rPr lang="en-US" sz="1100" b="1" dirty="0" smtClean="0">
                <a:solidFill>
                  <a:srgbClr val="252571"/>
                </a:solidFill>
                <a:latin typeface="Cambria" pitchFamily="18" charset="0"/>
              </a:rPr>
              <a:t>VIP </a:t>
            </a: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терминал идеально обустроен для индивидуального отдыха. Для каждого гостя мы предоставляем комфортное личное пространство, где можно в спокойной обстановке заняться приятным времяпровождением: почитать, посмотреть телевизор, побеседовать со своими спутниками, либо провести деловые переговоры. Так же в терминале есть все условия для эффективной  работы. Во всех помещениях работает WI-FI, а так же в свободном пользовании модные технические новинки и конференц-зал. </a:t>
            </a:r>
          </a:p>
          <a:p>
            <a:pPr>
              <a:buNone/>
            </a:pP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Наших гостей к трапу и от трапа самолета доставляет автомобиль представительского класса (</a:t>
            </a:r>
            <a:r>
              <a:rPr lang="en-US" sz="1100" b="1" dirty="0" smtClean="0">
                <a:solidFill>
                  <a:srgbClr val="252571"/>
                </a:solidFill>
                <a:latin typeface="Cambria" pitchFamily="18" charset="0"/>
              </a:rPr>
              <a:t>Audi A</a:t>
            </a: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8). </a:t>
            </a:r>
          </a:p>
          <a:p>
            <a:pPr>
              <a:buNone/>
            </a:pP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Для нас важен комфорт и время наших гостей, именно поэтому мы персонально контролируем статус рейса каждого гостя. Мы помогаем уладить любые индивидуальные запросы по перевозке багажа, ручной клади, переоформлению билетов, различным бронированиям всевозможных сервисов. </a:t>
            </a:r>
          </a:p>
          <a:p>
            <a:pPr>
              <a:buNone/>
            </a:pPr>
            <a:endParaRPr lang="ru-RU" sz="1100" b="1" dirty="0" smtClean="0">
              <a:solidFill>
                <a:srgbClr val="252571"/>
              </a:solidFill>
              <a:latin typeface="Cambria" pitchFamily="18" charset="0"/>
            </a:endParaRPr>
          </a:p>
          <a:p>
            <a:pPr>
              <a:buNone/>
            </a:pPr>
            <a:r>
              <a:rPr lang="en-US" sz="1100" b="1" dirty="0" smtClean="0">
                <a:solidFill>
                  <a:srgbClr val="252571"/>
                </a:solidFill>
                <a:latin typeface="Cambria" pitchFamily="18" charset="0"/>
                <a:hlinkClick r:id="rId2"/>
              </a:rPr>
              <a:t>http://www.koltsovo.ru/ru/vip_terminal</a:t>
            </a:r>
            <a:r>
              <a:rPr lang="ru-RU" sz="1100" b="1" dirty="0" smtClean="0">
                <a:solidFill>
                  <a:srgbClr val="252571"/>
                </a:solidFill>
                <a:latin typeface="Cambria" pitchFamily="18" charset="0"/>
              </a:rPr>
              <a:t> </a:t>
            </a:r>
            <a:endParaRPr lang="ru-RU" sz="1100" b="1" dirty="0">
              <a:solidFill>
                <a:srgbClr val="252571"/>
              </a:solidFill>
              <a:latin typeface="Cambria" pitchFamily="18" charset="0"/>
            </a:endParaRPr>
          </a:p>
        </p:txBody>
      </p:sp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45121" y="0"/>
            <a:ext cx="386087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1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" y="0"/>
            <a:ext cx="604512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3400" y="0"/>
            <a:ext cx="2133587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706726" y="1524000"/>
            <a:ext cx="3859562" cy="864096"/>
          </a:xfrm>
        </p:spPr>
        <p:txBody>
          <a:bodyPr>
            <a:normAutofit fontScale="90000"/>
          </a:bodyPr>
          <a:lstStyle/>
          <a:p>
            <a:r>
              <a:rPr lang="ru-RU" sz="1600" dirty="0" smtClean="0">
                <a:solidFill>
                  <a:srgbClr val="003399"/>
                </a:solidFill>
              </a:rPr>
              <a:t>Бизнес залы </a:t>
            </a:r>
            <a:br>
              <a:rPr lang="ru-RU" sz="1600" dirty="0" smtClean="0">
                <a:solidFill>
                  <a:srgbClr val="003399"/>
                </a:solidFill>
              </a:rPr>
            </a:br>
            <a:r>
              <a:rPr lang="ru-RU" sz="1600" b="0" dirty="0" smtClean="0">
                <a:solidFill>
                  <a:srgbClr val="003399"/>
                </a:solidFill>
              </a:rPr>
              <a:t>Услуги, предоставляемые пассажирам в Бизнес Залах</a:t>
            </a:r>
            <a:r>
              <a:rPr lang="ru-RU" sz="1600" dirty="0" smtClean="0">
                <a:solidFill>
                  <a:srgbClr val="003399"/>
                </a:solidFill>
              </a:rPr>
              <a:t>:</a:t>
            </a:r>
            <a:endParaRPr lang="ru-RU" sz="1600" dirty="0">
              <a:solidFill>
                <a:srgbClr val="003399"/>
              </a:solidFill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idx="1"/>
          </p:nvPr>
        </p:nvSpPr>
        <p:spPr>
          <a:xfrm>
            <a:off x="5706726" y="2514600"/>
            <a:ext cx="3573889" cy="2799184"/>
          </a:xfrm>
        </p:spPr>
        <p:txBody>
          <a:bodyPr/>
          <a:lstStyle/>
          <a:p>
            <a:r>
              <a:rPr lang="ru-RU" sz="1500" dirty="0" smtClean="0">
                <a:solidFill>
                  <a:srgbClr val="003399"/>
                </a:solidFill>
              </a:rPr>
              <a:t>- Просмотр TV программ.</a:t>
            </a:r>
          </a:p>
          <a:p>
            <a:r>
              <a:rPr lang="ru-RU" sz="1500" dirty="0" smtClean="0">
                <a:solidFill>
                  <a:srgbClr val="003399"/>
                </a:solidFill>
              </a:rPr>
              <a:t>- Городская и междугородняя телефонная связь.</a:t>
            </a:r>
          </a:p>
          <a:p>
            <a:r>
              <a:rPr lang="ru-RU" sz="1500" dirty="0" smtClean="0">
                <a:solidFill>
                  <a:srgbClr val="003399"/>
                </a:solidFill>
              </a:rPr>
              <a:t>- Печатные издания.</a:t>
            </a:r>
          </a:p>
          <a:p>
            <a:r>
              <a:rPr lang="ru-RU" sz="1500" dirty="0" smtClean="0">
                <a:solidFill>
                  <a:srgbClr val="003399"/>
                </a:solidFill>
              </a:rPr>
              <a:t>- Шведский стол</a:t>
            </a:r>
          </a:p>
          <a:p>
            <a:r>
              <a:rPr lang="ru-RU" sz="1500" dirty="0" smtClean="0">
                <a:solidFill>
                  <a:srgbClr val="003399"/>
                </a:solidFill>
              </a:rPr>
              <a:t>- При стоянке воздушного судна не у телескопического трапа доставка на посадку в отдельном автобусе.</a:t>
            </a:r>
          </a:p>
          <a:p>
            <a:pPr>
              <a:buFontTx/>
              <a:buChar char="-"/>
            </a:pPr>
            <a:r>
              <a:rPr lang="en-US" sz="1500" dirty="0" smtClean="0">
                <a:solidFill>
                  <a:srgbClr val="003399"/>
                </a:solidFill>
                <a:hlinkClick r:id="rId2"/>
              </a:rPr>
              <a:t>http://www.koltsovo.ru/ru/zalyi_povyishennoy_komfortnosti</a:t>
            </a:r>
            <a:r>
              <a:rPr lang="ru-RU" sz="1500" dirty="0" smtClean="0">
                <a:solidFill>
                  <a:srgbClr val="003399"/>
                </a:solidFill>
              </a:rPr>
              <a:t> </a:t>
            </a:r>
          </a:p>
          <a:p>
            <a:endParaRPr lang="ru-RU" dirty="0"/>
          </a:p>
        </p:txBody>
      </p:sp>
      <p:pic>
        <p:nvPicPr>
          <p:cNvPr id="11" name="Рисунок 1" descr="лого Кольцово_русск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7157" y="188640"/>
            <a:ext cx="3209131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1"/>
            <a:ext cx="5499061" cy="3455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481833"/>
            <a:ext cx="5499061" cy="337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6129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99061" y="645840"/>
            <a:ext cx="4406939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5400" y="44453"/>
            <a:ext cx="7620000" cy="641347"/>
          </a:xfrm>
        </p:spPr>
        <p:txBody>
          <a:bodyPr/>
          <a:lstStyle/>
          <a:p>
            <a:pPr algn="ctr"/>
            <a:r>
              <a:rPr lang="ru-RU" dirty="0" smtClean="0"/>
              <a:t>Проект «Еда на борт»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838200" y="1266110"/>
            <a:ext cx="4495800" cy="4800600"/>
          </a:xfrm>
        </p:spPr>
        <p:txBody>
          <a:bodyPr/>
          <a:lstStyle/>
          <a:p>
            <a:pPr algn="just">
              <a:buNone/>
            </a:pPr>
            <a:r>
              <a:rPr lang="ru-RU" sz="1500" dirty="0" smtClean="0"/>
              <a:t>На сайте аэропорта можно найти ваши любимые блюда, которые теперь можно заказать  в ресторанах и кафе аэропорта и взять с собой на борт самолета со скидкой до 15%. Заказ можно оформить предварительно позвонив по телефону. Готовый заказ вы сможете забрать из ресторана перед вашим полетом не позднее, чем за 1 час до вылета.</a:t>
            </a:r>
          </a:p>
          <a:p>
            <a:pPr algn="just">
              <a:buNone/>
            </a:pPr>
            <a:r>
              <a:rPr lang="en-US" sz="1500" dirty="0" smtClean="0">
                <a:solidFill>
                  <a:srgbClr val="003399"/>
                </a:solidFill>
                <a:hlinkClick r:id="rId2"/>
              </a:rPr>
              <a:t>http://www.koltsovo.ru/ru/eda_na_bort</a:t>
            </a:r>
            <a:r>
              <a:rPr lang="ru-RU" sz="1500" dirty="0" smtClean="0">
                <a:solidFill>
                  <a:srgbClr val="003399"/>
                </a:solidFill>
              </a:rPr>
              <a:t> </a:t>
            </a:r>
          </a:p>
          <a:p>
            <a:pPr algn="just">
              <a:buNone/>
            </a:pPr>
            <a:r>
              <a:rPr lang="ru-RU" sz="1500" dirty="0" smtClean="0"/>
              <a:t>  </a:t>
            </a:r>
            <a:endParaRPr lang="ru-RU" sz="15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00" y="44453"/>
            <a:ext cx="20097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48400" y="1266110"/>
            <a:ext cx="2667000" cy="429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5111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53201" y="5561885"/>
            <a:ext cx="2362199" cy="983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/>
        </p:nvSpPr>
        <p:spPr>
          <a:xfrm>
            <a:off x="6553201" y="942945"/>
            <a:ext cx="232044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500" dirty="0" smtClean="0">
                <a:solidFill>
                  <a:srgbClr val="000000"/>
                </a:solidFill>
              </a:rPr>
              <a:t>Рестораны – участники: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74391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95600" y="158751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«Купи на вылете – получи на прилете»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838200" y="1266110"/>
            <a:ext cx="4495800" cy="4800600"/>
          </a:xfrm>
          <a:prstGeom prst="rect">
            <a:avLst/>
          </a:prstGeom>
        </p:spPr>
        <p:txBody>
          <a:bodyPr/>
          <a:lstStyle/>
          <a:p>
            <a:pPr lvl="0"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lang="ru-RU" sz="1600" dirty="0" smtClean="0"/>
              <a:t>Приобретая товар в любом магазине терминала внутренних авиалиний (после досмотра), Вы можете оставить приобретенный товар до момента Вашего возвращения в аэропорт. По прилету приобретенный товар можно будет забрать на стойке </a:t>
            </a:r>
            <a:r>
              <a:rPr lang="ru-RU" sz="1600" dirty="0" err="1" smtClean="0"/>
              <a:t>Information</a:t>
            </a:r>
            <a:r>
              <a:rPr lang="ru-RU" sz="1600" dirty="0" smtClean="0"/>
              <a:t>,  расположенной на 1 этаже терминала А напротив входа (</a:t>
            </a:r>
            <a:r>
              <a:rPr lang="ru-RU" sz="1600" b="1" dirty="0" smtClean="0">
                <a:hlinkClick r:id="rId6"/>
              </a:rPr>
              <a:t>схема &gt;&gt;</a:t>
            </a:r>
            <a:r>
              <a:rPr lang="ru-RU" sz="1600" dirty="0" smtClean="0"/>
              <a:t>), предъявив администратору стойки кассовый чек  с пронумерованным </a:t>
            </a:r>
            <a:r>
              <a:rPr lang="ru-RU" sz="1600" dirty="0" err="1" smtClean="0"/>
              <a:t>стикером</a:t>
            </a:r>
            <a:r>
              <a:rPr lang="ru-RU" sz="1600" dirty="0" smtClean="0"/>
              <a:t> и Ваш паспорт. Услуга предоставляется бесплатно.</a:t>
            </a:r>
          </a:p>
          <a:p>
            <a:pPr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lang="ru-RU" sz="1600" b="1" dirty="0" smtClean="0"/>
              <a:t>Контакт администраторов аэропорта на стойке </a:t>
            </a:r>
            <a:r>
              <a:rPr lang="ru-RU" sz="1600" b="1" dirty="0" err="1" smtClean="0"/>
              <a:t>Information</a:t>
            </a:r>
            <a:r>
              <a:rPr lang="ru-RU" sz="1600" dirty="0" smtClean="0"/>
              <a:t>- +7 (343) 226-85-64</a:t>
            </a:r>
          </a:p>
          <a:p>
            <a:pPr lvl="0"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" name="Picture 3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81075" y="4876800"/>
            <a:ext cx="264795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95" name="Picture 31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53225" y="1600200"/>
            <a:ext cx="1128712" cy="929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96" name="Picture 31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96150" y="2529470"/>
            <a:ext cx="78105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98" name="Picture 318" descr="В ТРЦ Радуга Парк открылся магазин &quot;Экспедиция&quot;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67400" y="2895600"/>
            <a:ext cx="1295400" cy="1295400"/>
          </a:xfrm>
          <a:prstGeom prst="rect">
            <a:avLst/>
          </a:prstGeom>
          <a:noFill/>
        </p:spPr>
      </p:pic>
      <p:pic>
        <p:nvPicPr>
          <p:cNvPr id="174401" name="Picture 32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296150" y="3486150"/>
            <a:ext cx="1209675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02" name="Picture 32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719763" y="4343400"/>
            <a:ext cx="1533525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04" name="Picture 32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719763" y="4876800"/>
            <a:ext cx="1381125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06" name="Picture 326" descr="Мужская парфюмерия Pal Zileri. . Туалетная вода Пал Зилери для мужчин.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62800" y="4762500"/>
            <a:ext cx="1952625" cy="783880"/>
          </a:xfrm>
          <a:prstGeom prst="rect">
            <a:avLst/>
          </a:prstGeom>
          <a:noFill/>
        </p:spPr>
      </p:pic>
      <p:pic>
        <p:nvPicPr>
          <p:cNvPr id="174403" name="Picture 32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253288" y="4362450"/>
            <a:ext cx="18954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6277473" y="1104527"/>
            <a:ext cx="2037353" cy="323165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ru-RU" sz="1500" i="0" dirty="0" smtClean="0"/>
              <a:t>Магазины - участники</a:t>
            </a:r>
          </a:p>
        </p:txBody>
      </p:sp>
      <p:pic>
        <p:nvPicPr>
          <p:cNvPr id="174409" name="Picture 32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753100" y="5374930"/>
            <a:ext cx="30861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11" name="Picture 331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677025" y="5780960"/>
            <a:ext cx="14001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12" name="Picture 33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881937" y="2315157"/>
            <a:ext cx="13049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13" name="Picture 333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077200" y="2924175"/>
            <a:ext cx="11334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85346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267200" y="246063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«Маникюр»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838200" y="990600"/>
            <a:ext cx="4495800" cy="4800600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300" dirty="0" smtClean="0"/>
              <a:t>Большой выбор услуг по созданию </a:t>
            </a:r>
            <a:r>
              <a:rPr lang="ru-RU" sz="1300" dirty="0" err="1" smtClean="0"/>
              <a:t>изысканого</a:t>
            </a:r>
            <a:r>
              <a:rPr lang="ru-RU" sz="1300" dirty="0" smtClean="0"/>
              <a:t> маникюра и уходу за кожей рук. Современные технологии, используемые мастерами студии, позволяют Вам стать обладательницей безупречно ухоженных ногтей. Все услуги, оказываются специалистами, имеющими большой опыт работы в данной области.</a:t>
            </a:r>
          </a:p>
          <a:p>
            <a:pPr algn="just"/>
            <a:r>
              <a:rPr lang="ru-RU" sz="1300" dirty="0" smtClean="0"/>
              <a:t>Быстрая работа специалистов сохранит Ваше  свободное время!</a:t>
            </a:r>
          </a:p>
          <a:p>
            <a:pPr algn="just"/>
            <a:r>
              <a:rPr lang="ru-RU" sz="1300" dirty="0" smtClean="0"/>
              <a:t>Приятная атмосфера, вежливый персонал, доступные цены</a:t>
            </a:r>
          </a:p>
          <a:p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u="sng" dirty="0" smtClean="0"/>
              <a:t>Студия маникюра предоставляет следующие виды услуг:</a:t>
            </a:r>
            <a:endParaRPr lang="ru-RU" sz="1300" dirty="0" smtClean="0"/>
          </a:p>
          <a:p>
            <a:r>
              <a:rPr lang="ru-RU" sz="1300" dirty="0" smtClean="0"/>
              <a:t>все виды маникюра;</a:t>
            </a:r>
          </a:p>
          <a:p>
            <a:r>
              <a:rPr lang="ru-RU" sz="1300" dirty="0" smtClean="0"/>
              <a:t>покрытие гель-лак;</a:t>
            </a:r>
          </a:p>
          <a:p>
            <a:r>
              <a:rPr lang="ru-RU" sz="1300" dirty="0" smtClean="0"/>
              <a:t>декоративное покрытие;</a:t>
            </a:r>
          </a:p>
          <a:p>
            <a:r>
              <a:rPr lang="ru-RU" sz="1300" dirty="0" smtClean="0"/>
              <a:t>нейл-дизайн;</a:t>
            </a:r>
          </a:p>
          <a:p>
            <a:r>
              <a:rPr lang="ru-RU" sz="1300" dirty="0" smtClean="0"/>
              <a:t>SPA-процедуры для Ваших ручек.</a:t>
            </a:r>
          </a:p>
          <a:p>
            <a:r>
              <a:rPr lang="ru-RU" sz="1300" dirty="0" smtClean="0"/>
              <a:t>Будем рады видеть Вас в нашей студии!</a:t>
            </a:r>
          </a:p>
          <a:p>
            <a:r>
              <a:rPr lang="ru-RU" sz="1300" b="1" dirty="0" smtClean="0"/>
              <a:t/>
            </a:r>
            <a:br>
              <a:rPr lang="ru-RU" sz="1300" b="1" dirty="0" smtClean="0"/>
            </a:br>
            <a:r>
              <a:rPr lang="ru-RU" sz="1300" b="1" dirty="0" smtClean="0"/>
              <a:t>Расположение: </a:t>
            </a:r>
            <a:r>
              <a:rPr lang="ru-RU" sz="1300" dirty="0" smtClean="0"/>
              <a:t>терминала внутренних вылетов (А), 2 этаж, после досмотра. Рядом с рестораном Папарацци Экспресс.</a:t>
            </a:r>
          </a:p>
          <a:p>
            <a:r>
              <a:rPr lang="ru-RU" sz="1300" b="1" dirty="0" smtClean="0"/>
              <a:t/>
            </a:r>
            <a:br>
              <a:rPr lang="ru-RU" sz="1300" b="1" dirty="0" smtClean="0"/>
            </a:br>
            <a:r>
              <a:rPr lang="ru-RU" sz="1300" b="1" dirty="0" smtClean="0"/>
              <a:t>Режим работы: </a:t>
            </a:r>
            <a:r>
              <a:rPr lang="ru-RU" sz="1300" dirty="0" smtClean="0"/>
              <a:t>круглосуточно</a:t>
            </a:r>
          </a:p>
          <a:p>
            <a:pPr lvl="0"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534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90600" y="6172200"/>
            <a:ext cx="238125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349" name="Picture 5" descr="Красивый дизайн ногтей. . Обсуждение на LiveInternet - Российский Сервис Онлайн-Дневников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34000" y="2133600"/>
            <a:ext cx="3632201" cy="27241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86370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784601" y="246063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Упаковка багажа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457200" y="990600"/>
            <a:ext cx="4495800" cy="4800600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500" dirty="0" smtClean="0"/>
              <a:t>На территории всего </a:t>
            </a:r>
            <a:r>
              <a:rPr lang="ru-RU" sz="1500" dirty="0" err="1" smtClean="0"/>
              <a:t>аэроаокзального</a:t>
            </a:r>
            <a:r>
              <a:rPr lang="ru-RU" sz="1500" dirty="0" smtClean="0"/>
              <a:t> комплекса Вы можете использовать бесплатные тележки для перевозки багажа.</a:t>
            </a:r>
          </a:p>
          <a:p>
            <a:pPr algn="just"/>
            <a:r>
              <a:rPr lang="ru-RU" sz="1500" dirty="0" smtClean="0"/>
              <a:t>В аэропорту Кольцово Вы можете воспользоваться следующими услугами: </a:t>
            </a:r>
          </a:p>
          <a:p>
            <a:pPr lvl="0" algn="just">
              <a:buFont typeface="Wingdings" pitchFamily="2" charset="2"/>
              <a:buChar char="Ø"/>
            </a:pPr>
            <a:r>
              <a:rPr lang="ru-RU" sz="1500" dirty="0" smtClean="0"/>
              <a:t> Упаковка багажа. С 01 декабря 2014 вы сможете воспользоваться этим сервисом даже после регистрации. </a:t>
            </a:r>
          </a:p>
          <a:p>
            <a:pPr lvl="0" algn="just">
              <a:buFont typeface="Wingdings" pitchFamily="2" charset="2"/>
              <a:buChar char="Ø"/>
            </a:pPr>
            <a:r>
              <a:rPr lang="ru-RU" sz="1500" dirty="0" smtClean="0"/>
              <a:t> Страхование багажа.</a:t>
            </a:r>
          </a:p>
          <a:p>
            <a:pPr lvl="0" algn="just">
              <a:buFont typeface="Wingdings" pitchFamily="2" charset="2"/>
              <a:buChar char="Ø"/>
            </a:pPr>
            <a:r>
              <a:rPr lang="ru-RU" sz="1500" dirty="0" smtClean="0"/>
              <a:t> Взвешивание багажа.</a:t>
            </a:r>
          </a:p>
          <a:p>
            <a:pPr lvl="0" algn="just">
              <a:buFont typeface="Wingdings" pitchFamily="2" charset="2"/>
              <a:buChar char="Ø"/>
            </a:pPr>
            <a:r>
              <a:rPr lang="ru-RU" sz="1500" dirty="0" smtClean="0"/>
              <a:t> Камера хранения. </a:t>
            </a:r>
          </a:p>
          <a:p>
            <a:pPr lvl="0"/>
            <a:endParaRPr lang="ru-RU" sz="1500" dirty="0" smtClean="0"/>
          </a:p>
          <a:p>
            <a:pPr lvl="0"/>
            <a:r>
              <a:rPr lang="en-US" sz="1500" dirty="0" smtClean="0">
                <a:hlinkClick r:id="rId6"/>
              </a:rPr>
              <a:t>http://www.svx.aero/ru/upakovka_bagazha_i_kamera_hraneniya</a:t>
            </a:r>
            <a:r>
              <a:rPr lang="ru-RU" sz="1500" dirty="0" smtClean="0"/>
              <a:t> </a:t>
            </a:r>
          </a:p>
          <a:p>
            <a:endParaRPr lang="ru-RU" sz="1300" dirty="0" smtClean="0"/>
          </a:p>
          <a:p>
            <a:pPr lvl="0"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6372" name="Picture 4" descr="Аэропорт Курган - Услуги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9600" y="4572000"/>
            <a:ext cx="2628900" cy="1352550"/>
          </a:xfrm>
          <a:prstGeom prst="rect">
            <a:avLst/>
          </a:prstGeom>
          <a:noFill/>
        </p:spPr>
      </p:pic>
      <p:pic>
        <p:nvPicPr>
          <p:cNvPr id="186374" name="Picture 6" descr="Изображения в статьях. . Картинки, фотографии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53000" y="990600"/>
            <a:ext cx="4572000" cy="30495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87394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95600" y="246063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Экскурсии по аэропорту Кольцово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457200" y="990600"/>
            <a:ext cx="4495800" cy="4800600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400" dirty="0" smtClean="0"/>
              <a:t>С декабря 2013 г. Аэропорт Кольцово возобновляет программу обзорно-познавательных экскурсий. За время экскурсии гости аэропорта узнают об основных исторических вехах и современном развитии Кольцово, изучат некоторые авиационно-технические термины и получат наглядное представление о специфике деятельности аэропортовых служб. В рамках экскурсии есть возможность заказа </a:t>
            </a:r>
            <a:r>
              <a:rPr lang="ru-RU" sz="1400" dirty="0" err="1" smtClean="0"/>
              <a:t>ланч-боксов</a:t>
            </a:r>
            <a:r>
              <a:rPr lang="ru-RU" sz="1400" dirty="0" smtClean="0"/>
              <a:t>, приготовленных профессионалами </a:t>
            </a:r>
            <a:r>
              <a:rPr lang="ru-RU" sz="1400" dirty="0" err="1" smtClean="0"/>
              <a:t>кейтеринга</a:t>
            </a:r>
            <a:r>
              <a:rPr lang="ru-RU" sz="1400" dirty="0" smtClean="0"/>
              <a:t> Кольцово. Телефон  для заказа +7 (343) 264-74-29, +7 912-656-7901.  (заказать  </a:t>
            </a:r>
            <a:r>
              <a:rPr lang="ru-RU" sz="1400" dirty="0" err="1" smtClean="0"/>
              <a:t>ланч</a:t>
            </a:r>
            <a:r>
              <a:rPr lang="ru-RU" sz="1400" dirty="0" smtClean="0"/>
              <a:t> – бокс необходимо не позднее чем  за сутки до проведения экскурсии.)</a:t>
            </a:r>
          </a:p>
          <a:p>
            <a:endParaRPr lang="ru-RU" sz="1400" dirty="0" smtClean="0"/>
          </a:p>
          <a:p>
            <a:r>
              <a:rPr lang="en-US" sz="1300" dirty="0" smtClean="0">
                <a:hlinkClick r:id="rId6"/>
              </a:rPr>
              <a:t>http://www.svx.aero/ru/ekskursii_po_aeroportu</a:t>
            </a:r>
            <a:r>
              <a:rPr lang="ru-RU" sz="1300" dirty="0" smtClean="0"/>
              <a:t> </a:t>
            </a:r>
          </a:p>
          <a:p>
            <a:pPr lvl="0" algn="just" defTabSz="684213" fontAlgn="base">
              <a:spcBef>
                <a:spcPct val="20000"/>
              </a:spcBef>
              <a:spcAft>
                <a:spcPct val="0"/>
              </a:spcAft>
              <a:buSzPct val="25000"/>
            </a:pP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7396" name="Picture 4" descr="Сайт журналиста Владимира Гундарова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4114800"/>
            <a:ext cx="4267200" cy="2371726"/>
          </a:xfrm>
          <a:prstGeom prst="rect">
            <a:avLst/>
          </a:prstGeom>
          <a:noFill/>
        </p:spPr>
      </p:pic>
      <p:pic>
        <p:nvPicPr>
          <p:cNvPr id="187398" name="Picture 6" descr="Экскурсия в Липецком аэропорту - Новости - Международный аэропорт &quot;Липецк&quot;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34000" y="990600"/>
            <a:ext cx="3962400" cy="29754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88418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95600" y="246063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Магазины, </a:t>
            </a:r>
            <a:r>
              <a:rPr lang="en-US" dirty="0" smtClean="0"/>
              <a:t>DUTY FREE</a:t>
            </a:r>
            <a:r>
              <a:rPr lang="ru-RU" dirty="0" smtClean="0"/>
              <a:t>, рестораны, банкоматы 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457200" y="990600"/>
            <a:ext cx="4495800" cy="4800600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400" dirty="0" smtClean="0"/>
              <a:t>А Вы в курсе, что можно купить в аэропорту, а какую кухню можно попробовать в аэропорту? В аэропорту Кольцово есть многообразие </a:t>
            </a:r>
            <a:r>
              <a:rPr lang="ru-RU" sz="1400" dirty="0" err="1" smtClean="0"/>
              <a:t>брендовых</a:t>
            </a:r>
            <a:r>
              <a:rPr lang="ru-RU" sz="1400" dirty="0" smtClean="0"/>
              <a:t> бутиков и специализированных уютных магазинчиков, где Вы можете найти отличные деловые и романтические подарки для родных и близких, а также для деловых партнеров. Можно не бояться приезжать в Аэропорт заранее, не переживать, что не успели поесть. Аэропорт готов побаловать своих пассажиром многообразием кафе и ресторанов, начиная от </a:t>
            </a:r>
            <a:r>
              <a:rPr lang="ru-RU" sz="1400" dirty="0" err="1" smtClean="0"/>
              <a:t>панини</a:t>
            </a:r>
            <a:r>
              <a:rPr lang="ru-RU" sz="1400" dirty="0" smtClean="0"/>
              <a:t> и легких салатов до сочных </a:t>
            </a:r>
            <a:r>
              <a:rPr lang="ru-RU" sz="1400" dirty="0" err="1" smtClean="0"/>
              <a:t>стейков</a:t>
            </a:r>
            <a:r>
              <a:rPr lang="ru-RU" sz="1400" dirty="0" smtClean="0"/>
              <a:t> с бокалом восхитительного вина. </a:t>
            </a:r>
          </a:p>
          <a:p>
            <a:endParaRPr lang="ru-RU" sz="1400" dirty="0" smtClean="0"/>
          </a:p>
          <a:p>
            <a:r>
              <a:rPr lang="en-US" sz="1400" dirty="0" smtClean="0">
                <a:hlinkClick r:id="rId6"/>
              </a:rPr>
              <a:t>http://www.koltsovo.ru/?magazinyi_duty_free_kafe_bankomatyi</a:t>
            </a:r>
            <a:r>
              <a:rPr lang="ru-RU" sz="1400" dirty="0" smtClean="0"/>
              <a:t> </a:t>
            </a:r>
          </a:p>
          <a:p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8419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81600" y="1219200"/>
            <a:ext cx="1390650" cy="197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0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067300" y="3800475"/>
            <a:ext cx="1504950" cy="199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1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62800" y="1752600"/>
            <a:ext cx="1076325" cy="187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2" name="Picture 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5200" y="4419600"/>
            <a:ext cx="108585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3" name="Picture 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14500" y="4314825"/>
            <a:ext cx="2362200" cy="22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44293468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89442" name="think-cell Slide" r:id="rId5" imgW="360" imgH="360" progId="">
              <p:embed/>
            </p:oleObj>
          </a:graphicData>
        </a:graphic>
      </p:graphicFrame>
      <p:sp>
        <p:nvSpPr>
          <p:cNvPr id="7171" name="Прямоугольник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5153" y="0"/>
            <a:ext cx="177139" cy="24606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eaLnBrk="0" hangingPunct="0">
              <a:lnSpc>
                <a:spcPct val="90000"/>
              </a:lnSpc>
            </a:pPr>
            <a:endParaRPr lang="ru-RU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7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81450" y="246063"/>
            <a:ext cx="5181600" cy="450850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b="0" dirty="0" smtClean="0"/>
              <a:t> </a:t>
            </a:r>
            <a:r>
              <a:rPr lang="ru-RU" dirty="0" smtClean="0"/>
              <a:t>Паркинги</a:t>
            </a:r>
            <a:endParaRPr lang="ru-RU" dirty="0"/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171979" y="1371600"/>
            <a:ext cx="4114800" cy="4419600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400" dirty="0" smtClean="0"/>
              <a:t>В аэропорту Кольцово можно найти наиболее удобную для вас зону размещения вашего автомобиля. Различные условия и места позволяют разделять поток автомобилей в зависимости от срока и времени нахождения автомобиля. Вы также можете забронировать заранее место для своего авто на длительной парковке.</a:t>
            </a:r>
          </a:p>
          <a:p>
            <a:endParaRPr kumimoji="0" lang="ru-RU" sz="13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r>
              <a:rPr lang="en-US" sz="1300" kern="0" dirty="0" smtClean="0">
                <a:hlinkClick r:id="rId6"/>
              </a:rPr>
              <a:t>http://www.koltsovo.ru/?parkingi</a:t>
            </a:r>
            <a:r>
              <a:rPr lang="ru-RU" sz="1300" kern="0" dirty="0" smtClean="0"/>
              <a:t> </a:t>
            </a: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944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95799" y="990600"/>
            <a:ext cx="5171693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373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4&quot;/&gt;&lt;/elem&gt;&lt;key val=&quot;1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15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Ui3rlAEkeZnirsRQ2t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7KYPJ5fEmQLhPULk5U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LX6KEJEU2hVJ9iUSt.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qvvChTNkqcJGpbYuF2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w_8vYy5UudaErs09IV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CPl8Te7EyfWmdPJ8bE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LOz6OVf0e4JY.NVK77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s2JuLLVEa_MBIaiYnn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_7_FaKkqyoYpCg67o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qxDUkzUGev_BY83Dn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r3BVaVikyUHKa6NS7k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Q3dWL4Qka8VmgVKeAA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s2JuLLVEa_MBIaiYnn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_7_FaKkqyoYpCg67o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s2JuLLVEa_MBIaiYnn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_7_FaKkqyoYpCg67o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s2JuLLVEa_MBIaiYnn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_7_FaKkqyoYpCg67o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MBfur8ckmth3DkTgsf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p_1WcwR0ihzDybph4t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zqasUBUaCSTpMSky8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FALvM3fEWQOqMze5Ia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_7_FaKkqyoYpCg67o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xmGgJsGUCDhA9RPYeb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xY7ievBk..u49ZTHEs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hJD0AOqUiErJ9622sS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qgvCQVOhEK0S4LR9zTnPw"/>
</p:tagLst>
</file>

<file path=ppt/theme/theme1.xml><?xml version="1.0" encoding="utf-8"?>
<a:theme xmlns:a="http://schemas.openxmlformats.org/drawingml/2006/main" name="New template v.3">
  <a:themeElements>
    <a:clrScheme name="Другая 4">
      <a:dk1>
        <a:srgbClr val="000000"/>
      </a:dk1>
      <a:lt1>
        <a:srgbClr val="FFFFFF"/>
      </a:lt1>
      <a:dk2>
        <a:srgbClr val="A87C64"/>
      </a:dk2>
      <a:lt2>
        <a:srgbClr val="63C4EE"/>
      </a:lt2>
      <a:accent1>
        <a:srgbClr val="0051A2"/>
      </a:accent1>
      <a:accent2>
        <a:srgbClr val="C6D0EC"/>
      </a:accent2>
      <a:accent3>
        <a:srgbClr val="A01717"/>
      </a:accent3>
      <a:accent4>
        <a:srgbClr val="858F97"/>
      </a:accent4>
      <a:accent5>
        <a:srgbClr val="A87C64"/>
      </a:accent5>
      <a:accent6>
        <a:srgbClr val="63C4EE"/>
      </a:accent6>
      <a:hlink>
        <a:srgbClr val="A01717"/>
      </a:hlink>
      <a:folHlink>
        <a:srgbClr val="858F97"/>
      </a:folHlink>
    </a:clrScheme>
    <a:fontScheme name="2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>
            <a:lumMod val="20000"/>
            <a:lumOff val="8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45720" rIns="45720" rtlCol="0">
        <a:spAutoFit/>
      </a:bodyPr>
      <a:lstStyle>
        <a:defPPr>
          <a:defRPr sz="1000" i="0" dirty="0" err="1" smtClean="0"/>
        </a:defPPr>
      </a:lstStyle>
    </a:txDef>
  </a:objectDefaults>
  <a:extraClrSchemeLst>
    <a:extraClrScheme>
      <a:clrScheme name="2_Blank 1">
        <a:dk1>
          <a:srgbClr val="000000"/>
        </a:dk1>
        <a:lt1>
          <a:srgbClr val="FFFFFF"/>
        </a:lt1>
        <a:dk2>
          <a:srgbClr val="82B5CA"/>
        </a:dk2>
        <a:lt2>
          <a:srgbClr val="669933"/>
        </a:lt2>
        <a:accent1>
          <a:srgbClr val="660033"/>
        </a:accent1>
        <a:accent2>
          <a:srgbClr val="067875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056C69"/>
        </a:accent6>
        <a:hlink>
          <a:srgbClr val="FEC024"/>
        </a:hlink>
        <a:folHlink>
          <a:srgbClr val="1749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3399"/>
        </a:dk2>
        <a:lt2>
          <a:srgbClr val="CCFF99"/>
        </a:lt2>
        <a:accent1>
          <a:srgbClr val="008000"/>
        </a:accent1>
        <a:accent2>
          <a:srgbClr val="FFCC66"/>
        </a:accent2>
        <a:accent3>
          <a:srgbClr val="AAADCA"/>
        </a:accent3>
        <a:accent4>
          <a:srgbClr val="DADADA"/>
        </a:accent4>
        <a:accent5>
          <a:srgbClr val="AAC0AA"/>
        </a:accent5>
        <a:accent6>
          <a:srgbClr val="E7B95C"/>
        </a:accent6>
        <a:hlink>
          <a:srgbClr val="0099CC"/>
        </a:hlink>
        <a:folHlink>
          <a:srgbClr val="99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5">
        <a:dk1>
          <a:srgbClr val="000000"/>
        </a:dk1>
        <a:lt1>
          <a:srgbClr val="FFFFFF"/>
        </a:lt1>
        <a:dk2>
          <a:srgbClr val="99E4FF"/>
        </a:dk2>
        <a:lt2>
          <a:srgbClr val="3AB721"/>
        </a:lt2>
        <a:accent1>
          <a:srgbClr val="CC3300"/>
        </a:accent1>
        <a:accent2>
          <a:srgbClr val="00ACA8"/>
        </a:accent2>
        <a:accent3>
          <a:srgbClr val="FFFFFF"/>
        </a:accent3>
        <a:accent4>
          <a:srgbClr val="000000"/>
        </a:accent4>
        <a:accent5>
          <a:srgbClr val="E2ADAA"/>
        </a:accent5>
        <a:accent6>
          <a:srgbClr val="009B98"/>
        </a:accent6>
        <a:hlink>
          <a:srgbClr val="FFCC00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6">
        <a:dk1>
          <a:srgbClr val="000000"/>
        </a:dk1>
        <a:lt1>
          <a:srgbClr val="FFFFFF"/>
        </a:lt1>
        <a:dk2>
          <a:srgbClr val="82B5CA"/>
        </a:dk2>
        <a:lt2>
          <a:srgbClr val="067875"/>
        </a:lt2>
        <a:accent1>
          <a:srgbClr val="660033"/>
        </a:accent1>
        <a:accent2>
          <a:srgbClr val="FEC024"/>
        </a:accent2>
        <a:accent3>
          <a:srgbClr val="FFFFFF"/>
        </a:accent3>
        <a:accent4>
          <a:srgbClr val="000000"/>
        </a:accent4>
        <a:accent5>
          <a:srgbClr val="B8AAAD"/>
        </a:accent5>
        <a:accent6>
          <a:srgbClr val="E6AE20"/>
        </a:accent6>
        <a:hlink>
          <a:srgbClr val="17496F"/>
        </a:hlink>
        <a:folHlink>
          <a:srgbClr val="6699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51</TotalTime>
  <Words>423</Words>
  <Application>Microsoft Office PowerPoint</Application>
  <PresentationFormat>Лист A4 (210x297 мм)</PresentationFormat>
  <Paragraphs>62</Paragraphs>
  <Slides>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New template v.3</vt:lpstr>
      <vt:lpstr>think-cell Slide</vt:lpstr>
      <vt:lpstr>Слайд 1</vt:lpstr>
      <vt:lpstr>Бизнес залы  Услуги, предоставляемые пассажирам в Бизнес Залах:</vt:lpstr>
      <vt:lpstr>Проект «Еда на борт»</vt:lpstr>
      <vt:lpstr>  «Купи на вылете – получи на прилете»</vt:lpstr>
      <vt:lpstr>  «Маникюр»</vt:lpstr>
      <vt:lpstr>  Упаковка багажа</vt:lpstr>
      <vt:lpstr>  Экскурсии по аэропорту Кольцово</vt:lpstr>
      <vt:lpstr>  Магазины, DUTY FREE, рестораны, банкоматы </vt:lpstr>
      <vt:lpstr>  Паркинги</vt:lpstr>
    </vt:vector>
  </TitlesOfParts>
  <Company>H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зор АР</dc:title>
  <dc:creator>**</dc:creator>
  <cp:lastModifiedBy>belousova</cp:lastModifiedBy>
  <cp:revision>596</cp:revision>
  <cp:lastPrinted>2014-06-05T08:06:37Z</cp:lastPrinted>
  <dcterms:created xsi:type="dcterms:W3CDTF">2013-10-09T13:46:15Z</dcterms:created>
  <dcterms:modified xsi:type="dcterms:W3CDTF">2015-04-30T05:4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qminfo">
    <vt:i4>1</vt:i4>
  </property>
  <property fmtid="{D5CDD505-2E9C-101B-9397-08002B2CF9AE}" pid="3" name="lqmsess">
    <vt:lpwstr>35e6ffc2-a146-4db7-a5a4-c7fc7311ba52</vt:lpwstr>
  </property>
</Properties>
</file>